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8"/>
  </p:notesMasterIdLst>
  <p:handoutMasterIdLst>
    <p:handoutMasterId r:id="rId9"/>
  </p:handoutMasterIdLst>
  <p:sldIdLst>
    <p:sldId id="1200" r:id="rId5"/>
    <p:sldId id="1255" r:id="rId6"/>
    <p:sldId id="1219" r:id="rId7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087" autoAdjust="0"/>
  </p:normalViewPr>
  <p:slideViewPr>
    <p:cSldViewPr>
      <p:cViewPr>
        <p:scale>
          <a:sx n="125" d="100"/>
          <a:sy n="125" d="100"/>
        </p:scale>
        <p:origin x="-1368" y="-3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иод 2012 - 2023 гг.</a:t>
            </a:r>
          </a:p>
        </c:rich>
      </c:tx>
      <c:layout>
        <c:manualLayout>
          <c:xMode val="edge"/>
          <c:yMode val="edge"/>
          <c:x val="0.37366443328900717"/>
          <c:y val="4.6793294153756976E-4"/>
        </c:manualLayout>
      </c:layout>
      <c:overlay val="0"/>
      <c:spPr>
        <a:solidFill>
          <a:schemeClr val="tx2">
            <a:lumMod val="40000"/>
            <a:lumOff val="60000"/>
          </a:schemeClr>
        </a:solidFill>
      </c:sp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592746059487445"/>
          <c:y val="6.218560256589848E-2"/>
          <c:w val="0.27407253940512599"/>
          <c:h val="0.92143868072629564"/>
        </c:manualLayout>
      </c:layout>
      <c:overlay val="0"/>
      <c:txPr>
        <a:bodyPr/>
        <a:lstStyle/>
        <a:p>
          <a:pPr>
            <a:defRPr sz="9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1"/>
          <c:w val="0.88870160161716683"/>
          <c:h val="0.52421548068733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95011712"/>
        <c:axId val="195013248"/>
      </c:barChart>
      <c:catAx>
        <c:axId val="1950117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95013248"/>
        <c:crosses val="autoZero"/>
        <c:auto val="1"/>
        <c:lblAlgn val="ctr"/>
        <c:lblOffset val="100"/>
        <c:noMultiLvlLbl val="0"/>
      </c:catAx>
      <c:valAx>
        <c:axId val="1950132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95011712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30714411361700561"/>
          <c:w val="0.88870160161716683"/>
          <c:h val="0.52421548068733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ТП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A0-4553-A298-5DA7752213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традавшие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A0-4553-A298-5DA7752213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гибшие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еть дорог, 2024 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94-4F24-ABFC-DF322EDD0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9"/>
        <c:axId val="195271296"/>
        <c:axId val="195293568"/>
      </c:barChart>
      <c:catAx>
        <c:axId val="1952712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95293568"/>
        <c:crosses val="autoZero"/>
        <c:auto val="1"/>
        <c:lblAlgn val="ctr"/>
        <c:lblOffset val="100"/>
        <c:noMultiLvlLbl val="0"/>
      </c:catAx>
      <c:valAx>
        <c:axId val="1952935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95271296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04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04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157700" name="Дата 3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5D3A3E4-E6D0-4AF7-B06B-3DE8B2BFB684}" type="datetime6">
              <a:rPr lang="en-US" altLang="ru-RU" smtClean="0">
                <a:ea typeface="MS PGothic" pitchFamily="34" charset="-128"/>
              </a:rPr>
              <a:pPr/>
              <a:t>February 25</a:t>
            </a:fld>
            <a:endParaRPr lang="en-US" altLang="ru-RU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04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3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8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3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3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B1BE1-73DF-4119-BEC8-59D976434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| Методика планирования и учета выполнения работ Дистанции пути| 10-11/11/2016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  <p:sldLayoutId id="2147484600" r:id="rId4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Блок-схема: данные 4"/>
          <p:cNvSpPr/>
          <p:nvPr/>
        </p:nvSpPr>
        <p:spPr bwMode="auto">
          <a:xfrm>
            <a:off x="0" y="3436938"/>
            <a:ext cx="9142413" cy="62865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316 w 10000"/>
              <a:gd name="connsiteY3" fmla="*/ 10083 h 10083"/>
              <a:gd name="connsiteX4" fmla="*/ 0 w 10000"/>
              <a:gd name="connsiteY4" fmla="*/ 10000 h 10083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840 w 10000"/>
              <a:gd name="connsiteY3" fmla="*/ 2397 h 10083"/>
              <a:gd name="connsiteX4" fmla="*/ 9316 w 10000"/>
              <a:gd name="connsiteY4" fmla="*/ 10083 h 10083"/>
              <a:gd name="connsiteX5" fmla="*/ 0 w 10000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717"/>
              <a:gd name="connsiteY0" fmla="*/ 10000 h 10083"/>
              <a:gd name="connsiteX1" fmla="*/ 2000 w 10717"/>
              <a:gd name="connsiteY1" fmla="*/ 0 h 10083"/>
              <a:gd name="connsiteX2" fmla="*/ 10000 w 10717"/>
              <a:gd name="connsiteY2" fmla="*/ 0 h 10083"/>
              <a:gd name="connsiteX3" fmla="*/ 10439 w 10717"/>
              <a:gd name="connsiteY3" fmla="*/ 661 h 10083"/>
              <a:gd name="connsiteX4" fmla="*/ 9316 w 10717"/>
              <a:gd name="connsiteY4" fmla="*/ 10083 h 10083"/>
              <a:gd name="connsiteX5" fmla="*/ 0 w 10717"/>
              <a:gd name="connsiteY5" fmla="*/ 10000 h 10083"/>
              <a:gd name="connsiteX0" fmla="*/ 0 w 10442"/>
              <a:gd name="connsiteY0" fmla="*/ 10000 h 11431"/>
              <a:gd name="connsiteX1" fmla="*/ 2000 w 10442"/>
              <a:gd name="connsiteY1" fmla="*/ 0 h 11431"/>
              <a:gd name="connsiteX2" fmla="*/ 10000 w 10442"/>
              <a:gd name="connsiteY2" fmla="*/ 0 h 11431"/>
              <a:gd name="connsiteX3" fmla="*/ 10439 w 10442"/>
              <a:gd name="connsiteY3" fmla="*/ 661 h 11431"/>
              <a:gd name="connsiteX4" fmla="*/ 9316 w 10442"/>
              <a:gd name="connsiteY4" fmla="*/ 10083 h 11431"/>
              <a:gd name="connsiteX5" fmla="*/ 0 w 10442"/>
              <a:gd name="connsiteY5" fmla="*/ 10000 h 11431"/>
              <a:gd name="connsiteX0" fmla="*/ 0 w 10442"/>
              <a:gd name="connsiteY0" fmla="*/ 10000 h 10184"/>
              <a:gd name="connsiteX1" fmla="*/ 2000 w 10442"/>
              <a:gd name="connsiteY1" fmla="*/ 0 h 10184"/>
              <a:gd name="connsiteX2" fmla="*/ 10000 w 10442"/>
              <a:gd name="connsiteY2" fmla="*/ 0 h 10184"/>
              <a:gd name="connsiteX3" fmla="*/ 10439 w 10442"/>
              <a:gd name="connsiteY3" fmla="*/ 661 h 10184"/>
              <a:gd name="connsiteX4" fmla="*/ 9316 w 10442"/>
              <a:gd name="connsiteY4" fmla="*/ 10083 h 10184"/>
              <a:gd name="connsiteX5" fmla="*/ 0 w 10442"/>
              <a:gd name="connsiteY5" fmla="*/ 10000 h 10184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8899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9102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1090"/>
              <a:gd name="connsiteY0" fmla="*/ 14402 h 14469"/>
              <a:gd name="connsiteX1" fmla="*/ 2000 w 11090"/>
              <a:gd name="connsiteY1" fmla="*/ 4402 h 14469"/>
              <a:gd name="connsiteX2" fmla="*/ 10000 w 11090"/>
              <a:gd name="connsiteY2" fmla="*/ 4402 h 14469"/>
              <a:gd name="connsiteX3" fmla="*/ 11084 w 11090"/>
              <a:gd name="connsiteY3" fmla="*/ 1 h 14469"/>
              <a:gd name="connsiteX4" fmla="*/ 10439 w 11090"/>
              <a:gd name="connsiteY4" fmla="*/ 5063 h 14469"/>
              <a:gd name="connsiteX5" fmla="*/ 9198 w 11090"/>
              <a:gd name="connsiteY5" fmla="*/ 14319 h 14469"/>
              <a:gd name="connsiteX6" fmla="*/ 0 w 11090"/>
              <a:gd name="connsiteY6" fmla="*/ 14402 h 14469"/>
              <a:gd name="connsiteX0" fmla="*/ 0 w 11090"/>
              <a:gd name="connsiteY0" fmla="*/ 14401 h 14468"/>
              <a:gd name="connsiteX1" fmla="*/ 2000 w 11090"/>
              <a:gd name="connsiteY1" fmla="*/ 4401 h 14468"/>
              <a:gd name="connsiteX2" fmla="*/ 10000 w 11090"/>
              <a:gd name="connsiteY2" fmla="*/ 4401 h 14468"/>
              <a:gd name="connsiteX3" fmla="*/ 11084 w 11090"/>
              <a:gd name="connsiteY3" fmla="*/ 0 h 14468"/>
              <a:gd name="connsiteX4" fmla="*/ 10439 w 11090"/>
              <a:gd name="connsiteY4" fmla="*/ 5062 h 14468"/>
              <a:gd name="connsiteX5" fmla="*/ 9198 w 11090"/>
              <a:gd name="connsiteY5" fmla="*/ 14318 h 14468"/>
              <a:gd name="connsiteX6" fmla="*/ 0 w 11090"/>
              <a:gd name="connsiteY6" fmla="*/ 14401 h 14468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338"/>
              <a:gd name="connsiteY0" fmla="*/ 15792 h 15859"/>
              <a:gd name="connsiteX1" fmla="*/ 2000 w 11338"/>
              <a:gd name="connsiteY1" fmla="*/ 5792 h 15859"/>
              <a:gd name="connsiteX2" fmla="*/ 10000 w 11338"/>
              <a:gd name="connsiteY2" fmla="*/ 5792 h 15859"/>
              <a:gd name="connsiteX3" fmla="*/ 11084 w 11338"/>
              <a:gd name="connsiteY3" fmla="*/ 1391 h 15859"/>
              <a:gd name="connsiteX4" fmla="*/ 10439 w 11338"/>
              <a:gd name="connsiteY4" fmla="*/ 6453 h 15859"/>
              <a:gd name="connsiteX5" fmla="*/ 9198 w 11338"/>
              <a:gd name="connsiteY5" fmla="*/ 15709 h 15859"/>
              <a:gd name="connsiteX6" fmla="*/ 0 w 11338"/>
              <a:gd name="connsiteY6" fmla="*/ 15792 h 15859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258"/>
              <a:gd name="connsiteY0" fmla="*/ 15712 h 15779"/>
              <a:gd name="connsiteX1" fmla="*/ 2000 w 11258"/>
              <a:gd name="connsiteY1" fmla="*/ 5712 h 15779"/>
              <a:gd name="connsiteX2" fmla="*/ 10000 w 11258"/>
              <a:gd name="connsiteY2" fmla="*/ 5712 h 15779"/>
              <a:gd name="connsiteX3" fmla="*/ 11084 w 11258"/>
              <a:gd name="connsiteY3" fmla="*/ 1311 h 15779"/>
              <a:gd name="connsiteX4" fmla="*/ 10439 w 11258"/>
              <a:gd name="connsiteY4" fmla="*/ 6373 h 15779"/>
              <a:gd name="connsiteX5" fmla="*/ 9198 w 11258"/>
              <a:gd name="connsiteY5" fmla="*/ 15629 h 15779"/>
              <a:gd name="connsiteX6" fmla="*/ 0 w 11258"/>
              <a:gd name="connsiteY6" fmla="*/ 15712 h 15779"/>
              <a:gd name="connsiteX0" fmla="*/ 0 w 13793"/>
              <a:gd name="connsiteY0" fmla="*/ 11590 h 11657"/>
              <a:gd name="connsiteX1" fmla="*/ 2000 w 13793"/>
              <a:gd name="connsiteY1" fmla="*/ 1590 h 11657"/>
              <a:gd name="connsiteX2" fmla="*/ 10000 w 13793"/>
              <a:gd name="connsiteY2" fmla="*/ 1590 h 11657"/>
              <a:gd name="connsiteX3" fmla="*/ 13731 w 13793"/>
              <a:gd name="connsiteY3" fmla="*/ 2217 h 11657"/>
              <a:gd name="connsiteX4" fmla="*/ 10439 w 13793"/>
              <a:gd name="connsiteY4" fmla="*/ 2251 h 11657"/>
              <a:gd name="connsiteX5" fmla="*/ 9198 w 13793"/>
              <a:gd name="connsiteY5" fmla="*/ 11507 h 11657"/>
              <a:gd name="connsiteX6" fmla="*/ 0 w 13793"/>
              <a:gd name="connsiteY6" fmla="*/ 11590 h 11657"/>
              <a:gd name="connsiteX0" fmla="*/ 0 w 13731"/>
              <a:gd name="connsiteY0" fmla="*/ 11590 h 11657"/>
              <a:gd name="connsiteX1" fmla="*/ 2000 w 13731"/>
              <a:gd name="connsiteY1" fmla="*/ 1590 h 11657"/>
              <a:gd name="connsiteX2" fmla="*/ 10000 w 13731"/>
              <a:gd name="connsiteY2" fmla="*/ 1590 h 11657"/>
              <a:gd name="connsiteX3" fmla="*/ 13731 w 13731"/>
              <a:gd name="connsiteY3" fmla="*/ 2217 h 11657"/>
              <a:gd name="connsiteX4" fmla="*/ 10439 w 13731"/>
              <a:gd name="connsiteY4" fmla="*/ 2251 h 11657"/>
              <a:gd name="connsiteX5" fmla="*/ 9198 w 13731"/>
              <a:gd name="connsiteY5" fmla="*/ 11507 h 11657"/>
              <a:gd name="connsiteX6" fmla="*/ 0 w 13731"/>
              <a:gd name="connsiteY6" fmla="*/ 11590 h 11657"/>
              <a:gd name="connsiteX0" fmla="*/ 0 w 13732"/>
              <a:gd name="connsiteY0" fmla="*/ 10000 h 10067"/>
              <a:gd name="connsiteX1" fmla="*/ 2000 w 13732"/>
              <a:gd name="connsiteY1" fmla="*/ 0 h 10067"/>
              <a:gd name="connsiteX2" fmla="*/ 10000 w 13732"/>
              <a:gd name="connsiteY2" fmla="*/ 0 h 10067"/>
              <a:gd name="connsiteX3" fmla="*/ 13731 w 13732"/>
              <a:gd name="connsiteY3" fmla="*/ 627 h 10067"/>
              <a:gd name="connsiteX4" fmla="*/ 10439 w 13732"/>
              <a:gd name="connsiteY4" fmla="*/ 661 h 10067"/>
              <a:gd name="connsiteX5" fmla="*/ 9198 w 13732"/>
              <a:gd name="connsiteY5" fmla="*/ 9917 h 10067"/>
              <a:gd name="connsiteX6" fmla="*/ 0 w 13732"/>
              <a:gd name="connsiteY6" fmla="*/ 10000 h 10067"/>
              <a:gd name="connsiteX0" fmla="*/ 0 w 13734"/>
              <a:gd name="connsiteY0" fmla="*/ 10000 h 10067"/>
              <a:gd name="connsiteX1" fmla="*/ 2000 w 13734"/>
              <a:gd name="connsiteY1" fmla="*/ 0 h 10067"/>
              <a:gd name="connsiteX2" fmla="*/ 10000 w 13734"/>
              <a:gd name="connsiteY2" fmla="*/ 0 h 10067"/>
              <a:gd name="connsiteX3" fmla="*/ 13731 w 13734"/>
              <a:gd name="connsiteY3" fmla="*/ 627 h 10067"/>
              <a:gd name="connsiteX4" fmla="*/ 10439 w 13734"/>
              <a:gd name="connsiteY4" fmla="*/ 661 h 10067"/>
              <a:gd name="connsiteX5" fmla="*/ 9198 w 13734"/>
              <a:gd name="connsiteY5" fmla="*/ 9917 h 10067"/>
              <a:gd name="connsiteX6" fmla="*/ 0 w 13734"/>
              <a:gd name="connsiteY6" fmla="*/ 10000 h 10067"/>
              <a:gd name="connsiteX0" fmla="*/ 0 w 13740"/>
              <a:gd name="connsiteY0" fmla="*/ 10969 h 11036"/>
              <a:gd name="connsiteX1" fmla="*/ 2000 w 13740"/>
              <a:gd name="connsiteY1" fmla="*/ 969 h 11036"/>
              <a:gd name="connsiteX2" fmla="*/ 10000 w 13740"/>
              <a:gd name="connsiteY2" fmla="*/ 969 h 11036"/>
              <a:gd name="connsiteX3" fmla="*/ 13731 w 13740"/>
              <a:gd name="connsiteY3" fmla="*/ 1596 h 11036"/>
              <a:gd name="connsiteX4" fmla="*/ 10439 w 13740"/>
              <a:gd name="connsiteY4" fmla="*/ 1630 h 11036"/>
              <a:gd name="connsiteX5" fmla="*/ 9198 w 13740"/>
              <a:gd name="connsiteY5" fmla="*/ 10886 h 11036"/>
              <a:gd name="connsiteX6" fmla="*/ 0 w 13740"/>
              <a:gd name="connsiteY6" fmla="*/ 10969 h 11036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3938"/>
              <a:gd name="connsiteY0" fmla="*/ 11006 h 11073"/>
              <a:gd name="connsiteX1" fmla="*/ 2000 w 13938"/>
              <a:gd name="connsiteY1" fmla="*/ 1006 h 11073"/>
              <a:gd name="connsiteX2" fmla="*/ 10000 w 13938"/>
              <a:gd name="connsiteY2" fmla="*/ 1006 h 11073"/>
              <a:gd name="connsiteX3" fmla="*/ 13582 w 13938"/>
              <a:gd name="connsiteY3" fmla="*/ 169 h 11073"/>
              <a:gd name="connsiteX4" fmla="*/ 13731 w 13938"/>
              <a:gd name="connsiteY4" fmla="*/ 1633 h 11073"/>
              <a:gd name="connsiteX5" fmla="*/ 10439 w 13938"/>
              <a:gd name="connsiteY5" fmla="*/ 1667 h 11073"/>
              <a:gd name="connsiteX6" fmla="*/ 9198 w 13938"/>
              <a:gd name="connsiteY6" fmla="*/ 10923 h 11073"/>
              <a:gd name="connsiteX7" fmla="*/ 0 w 13938"/>
              <a:gd name="connsiteY7" fmla="*/ 11006 h 11073"/>
              <a:gd name="connsiteX0" fmla="*/ 0 w 13930"/>
              <a:gd name="connsiteY0" fmla="*/ 11006 h 11073"/>
              <a:gd name="connsiteX1" fmla="*/ 2000 w 13930"/>
              <a:gd name="connsiteY1" fmla="*/ 1006 h 11073"/>
              <a:gd name="connsiteX2" fmla="*/ 10000 w 13930"/>
              <a:gd name="connsiteY2" fmla="*/ 1006 h 11073"/>
              <a:gd name="connsiteX3" fmla="*/ 13582 w 13930"/>
              <a:gd name="connsiteY3" fmla="*/ 169 h 11073"/>
              <a:gd name="connsiteX4" fmla="*/ 13731 w 13930"/>
              <a:gd name="connsiteY4" fmla="*/ 1633 h 11073"/>
              <a:gd name="connsiteX5" fmla="*/ 10439 w 13930"/>
              <a:gd name="connsiteY5" fmla="*/ 1667 h 11073"/>
              <a:gd name="connsiteX6" fmla="*/ 9198 w 13930"/>
              <a:gd name="connsiteY6" fmla="*/ 10923 h 11073"/>
              <a:gd name="connsiteX7" fmla="*/ 0 w 13930"/>
              <a:gd name="connsiteY7" fmla="*/ 11006 h 11073"/>
              <a:gd name="connsiteX0" fmla="*/ 0 w 14659"/>
              <a:gd name="connsiteY0" fmla="*/ 10845 h 10912"/>
              <a:gd name="connsiteX1" fmla="*/ 2000 w 14659"/>
              <a:gd name="connsiteY1" fmla="*/ 845 h 10912"/>
              <a:gd name="connsiteX2" fmla="*/ 10000 w 14659"/>
              <a:gd name="connsiteY2" fmla="*/ 845 h 10912"/>
              <a:gd name="connsiteX3" fmla="*/ 13582 w 14659"/>
              <a:gd name="connsiteY3" fmla="*/ 8 h 10912"/>
              <a:gd name="connsiteX4" fmla="*/ 14473 w 14659"/>
              <a:gd name="connsiteY4" fmla="*/ 491 h 10912"/>
              <a:gd name="connsiteX5" fmla="*/ 10439 w 14659"/>
              <a:gd name="connsiteY5" fmla="*/ 1506 h 10912"/>
              <a:gd name="connsiteX6" fmla="*/ 9198 w 14659"/>
              <a:gd name="connsiteY6" fmla="*/ 10762 h 10912"/>
              <a:gd name="connsiteX7" fmla="*/ 0 w 14659"/>
              <a:gd name="connsiteY7" fmla="*/ 10845 h 10912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482"/>
              <a:gd name="connsiteY0" fmla="*/ 11191 h 11258"/>
              <a:gd name="connsiteX1" fmla="*/ 2000 w 14482"/>
              <a:gd name="connsiteY1" fmla="*/ 1191 h 11258"/>
              <a:gd name="connsiteX2" fmla="*/ 10000 w 14482"/>
              <a:gd name="connsiteY2" fmla="*/ 1191 h 11258"/>
              <a:gd name="connsiteX3" fmla="*/ 13582 w 14482"/>
              <a:gd name="connsiteY3" fmla="*/ 354 h 11258"/>
              <a:gd name="connsiteX4" fmla="*/ 14473 w 14482"/>
              <a:gd name="connsiteY4" fmla="*/ 837 h 11258"/>
              <a:gd name="connsiteX5" fmla="*/ 10439 w 14482"/>
              <a:gd name="connsiteY5" fmla="*/ 1852 h 11258"/>
              <a:gd name="connsiteX6" fmla="*/ 9198 w 14482"/>
              <a:gd name="connsiteY6" fmla="*/ 11108 h 11258"/>
              <a:gd name="connsiteX7" fmla="*/ 0 w 14482"/>
              <a:gd name="connsiteY7" fmla="*/ 11191 h 11258"/>
              <a:gd name="connsiteX0" fmla="*/ 0 w 14481"/>
              <a:gd name="connsiteY0" fmla="*/ 11191 h 11258"/>
              <a:gd name="connsiteX1" fmla="*/ 2000 w 14481"/>
              <a:gd name="connsiteY1" fmla="*/ 1191 h 11258"/>
              <a:gd name="connsiteX2" fmla="*/ 10000 w 14481"/>
              <a:gd name="connsiteY2" fmla="*/ 1191 h 11258"/>
              <a:gd name="connsiteX3" fmla="*/ 13582 w 14481"/>
              <a:gd name="connsiteY3" fmla="*/ 354 h 11258"/>
              <a:gd name="connsiteX4" fmla="*/ 14473 w 14481"/>
              <a:gd name="connsiteY4" fmla="*/ 837 h 11258"/>
              <a:gd name="connsiteX5" fmla="*/ 10439 w 14481"/>
              <a:gd name="connsiteY5" fmla="*/ 1852 h 11258"/>
              <a:gd name="connsiteX6" fmla="*/ 9198 w 14481"/>
              <a:gd name="connsiteY6" fmla="*/ 11108 h 11258"/>
              <a:gd name="connsiteX7" fmla="*/ 0 w 14481"/>
              <a:gd name="connsiteY7" fmla="*/ 11191 h 11258"/>
              <a:gd name="connsiteX0" fmla="*/ 0 w 14532"/>
              <a:gd name="connsiteY0" fmla="*/ 10905 h 10972"/>
              <a:gd name="connsiteX1" fmla="*/ 2000 w 14532"/>
              <a:gd name="connsiteY1" fmla="*/ 905 h 10972"/>
              <a:gd name="connsiteX2" fmla="*/ 10000 w 14532"/>
              <a:gd name="connsiteY2" fmla="*/ 905 h 10972"/>
              <a:gd name="connsiteX3" fmla="*/ 13582 w 14532"/>
              <a:gd name="connsiteY3" fmla="*/ 68 h 10972"/>
              <a:gd name="connsiteX4" fmla="*/ 14526 w 14532"/>
              <a:gd name="connsiteY4" fmla="*/ 1068 h 10972"/>
              <a:gd name="connsiteX5" fmla="*/ 10439 w 14532"/>
              <a:gd name="connsiteY5" fmla="*/ 1566 h 10972"/>
              <a:gd name="connsiteX6" fmla="*/ 9198 w 14532"/>
              <a:gd name="connsiteY6" fmla="*/ 10822 h 10972"/>
              <a:gd name="connsiteX7" fmla="*/ 0 w 14532"/>
              <a:gd name="connsiteY7" fmla="*/ 10905 h 10972"/>
              <a:gd name="connsiteX0" fmla="*/ 0 w 15121"/>
              <a:gd name="connsiteY0" fmla="*/ 10838 h 10905"/>
              <a:gd name="connsiteX1" fmla="*/ 2000 w 15121"/>
              <a:gd name="connsiteY1" fmla="*/ 838 h 10905"/>
              <a:gd name="connsiteX2" fmla="*/ 10000 w 15121"/>
              <a:gd name="connsiteY2" fmla="*/ 838 h 10905"/>
              <a:gd name="connsiteX3" fmla="*/ 13582 w 15121"/>
              <a:gd name="connsiteY3" fmla="*/ 1 h 10905"/>
              <a:gd name="connsiteX4" fmla="*/ 14526 w 15121"/>
              <a:gd name="connsiteY4" fmla="*/ 1001 h 10905"/>
              <a:gd name="connsiteX5" fmla="*/ 10439 w 15121"/>
              <a:gd name="connsiteY5" fmla="*/ 1499 h 10905"/>
              <a:gd name="connsiteX6" fmla="*/ 9198 w 15121"/>
              <a:gd name="connsiteY6" fmla="*/ 10755 h 10905"/>
              <a:gd name="connsiteX7" fmla="*/ 0 w 15121"/>
              <a:gd name="connsiteY7" fmla="*/ 10838 h 10905"/>
              <a:gd name="connsiteX0" fmla="*/ 0 w 15115"/>
              <a:gd name="connsiteY0" fmla="*/ 10849 h 10916"/>
              <a:gd name="connsiteX1" fmla="*/ 2000 w 15115"/>
              <a:gd name="connsiteY1" fmla="*/ 849 h 10916"/>
              <a:gd name="connsiteX2" fmla="*/ 10000 w 15115"/>
              <a:gd name="connsiteY2" fmla="*/ 849 h 10916"/>
              <a:gd name="connsiteX3" fmla="*/ 13582 w 15115"/>
              <a:gd name="connsiteY3" fmla="*/ 12 h 10916"/>
              <a:gd name="connsiteX4" fmla="*/ 14519 w 15115"/>
              <a:gd name="connsiteY4" fmla="*/ 1580 h 10916"/>
              <a:gd name="connsiteX5" fmla="*/ 10439 w 15115"/>
              <a:gd name="connsiteY5" fmla="*/ 1510 h 10916"/>
              <a:gd name="connsiteX6" fmla="*/ 9198 w 15115"/>
              <a:gd name="connsiteY6" fmla="*/ 10766 h 10916"/>
              <a:gd name="connsiteX7" fmla="*/ 0 w 15115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37 h 10904"/>
              <a:gd name="connsiteX1" fmla="*/ 2000 w 14519"/>
              <a:gd name="connsiteY1" fmla="*/ 837 h 10904"/>
              <a:gd name="connsiteX2" fmla="*/ 10000 w 14519"/>
              <a:gd name="connsiteY2" fmla="*/ 837 h 10904"/>
              <a:gd name="connsiteX3" fmla="*/ 13582 w 14519"/>
              <a:gd name="connsiteY3" fmla="*/ 0 h 10904"/>
              <a:gd name="connsiteX4" fmla="*/ 14519 w 14519"/>
              <a:gd name="connsiteY4" fmla="*/ 1568 h 10904"/>
              <a:gd name="connsiteX5" fmla="*/ 10439 w 14519"/>
              <a:gd name="connsiteY5" fmla="*/ 1498 h 10904"/>
              <a:gd name="connsiteX6" fmla="*/ 9198 w 14519"/>
              <a:gd name="connsiteY6" fmla="*/ 10754 h 10904"/>
              <a:gd name="connsiteX7" fmla="*/ 0 w 14519"/>
              <a:gd name="connsiteY7" fmla="*/ 10837 h 10904"/>
              <a:gd name="connsiteX0" fmla="*/ 0 w 14728"/>
              <a:gd name="connsiteY0" fmla="*/ 10320 h 10387"/>
              <a:gd name="connsiteX1" fmla="*/ 2000 w 14728"/>
              <a:gd name="connsiteY1" fmla="*/ 320 h 10387"/>
              <a:gd name="connsiteX2" fmla="*/ 10000 w 14728"/>
              <a:gd name="connsiteY2" fmla="*/ 320 h 10387"/>
              <a:gd name="connsiteX3" fmla="*/ 14344 w 14728"/>
              <a:gd name="connsiteY3" fmla="*/ 0 h 10387"/>
              <a:gd name="connsiteX4" fmla="*/ 14519 w 14728"/>
              <a:gd name="connsiteY4" fmla="*/ 1051 h 10387"/>
              <a:gd name="connsiteX5" fmla="*/ 10439 w 14728"/>
              <a:gd name="connsiteY5" fmla="*/ 981 h 10387"/>
              <a:gd name="connsiteX6" fmla="*/ 9198 w 14728"/>
              <a:gd name="connsiteY6" fmla="*/ 10237 h 10387"/>
              <a:gd name="connsiteX7" fmla="*/ 0 w 14728"/>
              <a:gd name="connsiteY7" fmla="*/ 10320 h 10387"/>
              <a:gd name="connsiteX0" fmla="*/ 0 w 14519"/>
              <a:gd name="connsiteY0" fmla="*/ 10320 h 10387"/>
              <a:gd name="connsiteX1" fmla="*/ 2000 w 14519"/>
              <a:gd name="connsiteY1" fmla="*/ 320 h 10387"/>
              <a:gd name="connsiteX2" fmla="*/ 10000 w 14519"/>
              <a:gd name="connsiteY2" fmla="*/ 320 h 10387"/>
              <a:gd name="connsiteX3" fmla="*/ 14344 w 14519"/>
              <a:gd name="connsiteY3" fmla="*/ 0 h 10387"/>
              <a:gd name="connsiteX4" fmla="*/ 14519 w 14519"/>
              <a:gd name="connsiteY4" fmla="*/ 1051 h 10387"/>
              <a:gd name="connsiteX5" fmla="*/ 10439 w 14519"/>
              <a:gd name="connsiteY5" fmla="*/ 981 h 10387"/>
              <a:gd name="connsiteX6" fmla="*/ 9198 w 14519"/>
              <a:gd name="connsiteY6" fmla="*/ 10237 h 10387"/>
              <a:gd name="connsiteX7" fmla="*/ 0 w 14519"/>
              <a:gd name="connsiteY7" fmla="*/ 10320 h 10387"/>
              <a:gd name="connsiteX0" fmla="*/ 0 w 14519"/>
              <a:gd name="connsiteY0" fmla="*/ 10020 h 10087"/>
              <a:gd name="connsiteX1" fmla="*/ 2000 w 14519"/>
              <a:gd name="connsiteY1" fmla="*/ 20 h 10087"/>
              <a:gd name="connsiteX2" fmla="*/ 10000 w 14519"/>
              <a:gd name="connsiteY2" fmla="*/ 20 h 10087"/>
              <a:gd name="connsiteX3" fmla="*/ 13926 w 14519"/>
              <a:gd name="connsiteY3" fmla="*/ 139 h 10087"/>
              <a:gd name="connsiteX4" fmla="*/ 14519 w 14519"/>
              <a:gd name="connsiteY4" fmla="*/ 751 h 10087"/>
              <a:gd name="connsiteX5" fmla="*/ 10439 w 14519"/>
              <a:gd name="connsiteY5" fmla="*/ 681 h 10087"/>
              <a:gd name="connsiteX6" fmla="*/ 9198 w 14519"/>
              <a:gd name="connsiteY6" fmla="*/ 9937 h 10087"/>
              <a:gd name="connsiteX7" fmla="*/ 0 w 14519"/>
              <a:gd name="connsiteY7" fmla="*/ 10020 h 10087"/>
              <a:gd name="connsiteX0" fmla="*/ 0 w 14519"/>
              <a:gd name="connsiteY0" fmla="*/ 10033 h 10100"/>
              <a:gd name="connsiteX1" fmla="*/ 2000 w 14519"/>
              <a:gd name="connsiteY1" fmla="*/ 33 h 10100"/>
              <a:gd name="connsiteX2" fmla="*/ 10000 w 14519"/>
              <a:gd name="connsiteY2" fmla="*/ 33 h 10100"/>
              <a:gd name="connsiteX3" fmla="*/ 13926 w 14519"/>
              <a:gd name="connsiteY3" fmla="*/ 152 h 10100"/>
              <a:gd name="connsiteX4" fmla="*/ 14519 w 14519"/>
              <a:gd name="connsiteY4" fmla="*/ 764 h 10100"/>
              <a:gd name="connsiteX5" fmla="*/ 10439 w 14519"/>
              <a:gd name="connsiteY5" fmla="*/ 694 h 10100"/>
              <a:gd name="connsiteX6" fmla="*/ 9198 w 14519"/>
              <a:gd name="connsiteY6" fmla="*/ 9950 h 10100"/>
              <a:gd name="connsiteX7" fmla="*/ 0 w 14519"/>
              <a:gd name="connsiteY7" fmla="*/ 10033 h 10100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3824"/>
              <a:gd name="connsiteY0" fmla="*/ 10062 h 10129"/>
              <a:gd name="connsiteX1" fmla="*/ 2000 w 13824"/>
              <a:gd name="connsiteY1" fmla="*/ 62 h 10129"/>
              <a:gd name="connsiteX2" fmla="*/ 10000 w 13824"/>
              <a:gd name="connsiteY2" fmla="*/ 62 h 10129"/>
              <a:gd name="connsiteX3" fmla="*/ 13742 w 13824"/>
              <a:gd name="connsiteY3" fmla="*/ 0 h 10129"/>
              <a:gd name="connsiteX4" fmla="*/ 13824 w 13824"/>
              <a:gd name="connsiteY4" fmla="*/ 1516 h 10129"/>
              <a:gd name="connsiteX5" fmla="*/ 10439 w 13824"/>
              <a:gd name="connsiteY5" fmla="*/ 723 h 10129"/>
              <a:gd name="connsiteX6" fmla="*/ 9198 w 13824"/>
              <a:gd name="connsiteY6" fmla="*/ 9979 h 10129"/>
              <a:gd name="connsiteX7" fmla="*/ 0 w 13824"/>
              <a:gd name="connsiteY7" fmla="*/ 10062 h 10129"/>
              <a:gd name="connsiteX0" fmla="*/ 0 w 13742"/>
              <a:gd name="connsiteY0" fmla="*/ 10062 h 10129"/>
              <a:gd name="connsiteX1" fmla="*/ 2000 w 13742"/>
              <a:gd name="connsiteY1" fmla="*/ 62 h 10129"/>
              <a:gd name="connsiteX2" fmla="*/ 10000 w 13742"/>
              <a:gd name="connsiteY2" fmla="*/ 62 h 10129"/>
              <a:gd name="connsiteX3" fmla="*/ 13742 w 13742"/>
              <a:gd name="connsiteY3" fmla="*/ 0 h 10129"/>
              <a:gd name="connsiteX4" fmla="*/ 13720 w 13742"/>
              <a:gd name="connsiteY4" fmla="*/ 870 h 10129"/>
              <a:gd name="connsiteX5" fmla="*/ 10439 w 13742"/>
              <a:gd name="connsiteY5" fmla="*/ 723 h 10129"/>
              <a:gd name="connsiteX6" fmla="*/ 9198 w 13742"/>
              <a:gd name="connsiteY6" fmla="*/ 9979 h 10129"/>
              <a:gd name="connsiteX7" fmla="*/ 0 w 13742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896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703"/>
              <a:gd name="connsiteX1" fmla="*/ 2000 w 13757"/>
              <a:gd name="connsiteY1" fmla="*/ 62 h 10703"/>
              <a:gd name="connsiteX2" fmla="*/ 10000 w 13757"/>
              <a:gd name="connsiteY2" fmla="*/ 62 h 10703"/>
              <a:gd name="connsiteX3" fmla="*/ 13742 w 13757"/>
              <a:gd name="connsiteY3" fmla="*/ 0 h 10703"/>
              <a:gd name="connsiteX4" fmla="*/ 13757 w 13757"/>
              <a:gd name="connsiteY4" fmla="*/ 689 h 10703"/>
              <a:gd name="connsiteX5" fmla="*/ 10516 w 13757"/>
              <a:gd name="connsiteY5" fmla="*/ 671 h 10703"/>
              <a:gd name="connsiteX6" fmla="*/ 9198 w 13757"/>
              <a:gd name="connsiteY6" fmla="*/ 9979 h 10703"/>
              <a:gd name="connsiteX7" fmla="*/ 0 w 13757"/>
              <a:gd name="connsiteY7" fmla="*/ 10062 h 10703"/>
              <a:gd name="connsiteX0" fmla="*/ 0 w 13757"/>
              <a:gd name="connsiteY0" fmla="*/ 10062 h 10947"/>
              <a:gd name="connsiteX1" fmla="*/ 2000 w 13757"/>
              <a:gd name="connsiteY1" fmla="*/ 62 h 10947"/>
              <a:gd name="connsiteX2" fmla="*/ 10000 w 13757"/>
              <a:gd name="connsiteY2" fmla="*/ 62 h 10947"/>
              <a:gd name="connsiteX3" fmla="*/ 13742 w 13757"/>
              <a:gd name="connsiteY3" fmla="*/ 0 h 10947"/>
              <a:gd name="connsiteX4" fmla="*/ 13757 w 13757"/>
              <a:gd name="connsiteY4" fmla="*/ 689 h 10947"/>
              <a:gd name="connsiteX5" fmla="*/ 10516 w 13757"/>
              <a:gd name="connsiteY5" fmla="*/ 671 h 10947"/>
              <a:gd name="connsiteX6" fmla="*/ 9198 w 13757"/>
              <a:gd name="connsiteY6" fmla="*/ 9979 h 10947"/>
              <a:gd name="connsiteX7" fmla="*/ 0 w 13757"/>
              <a:gd name="connsiteY7" fmla="*/ 10062 h 10947"/>
              <a:gd name="connsiteX0" fmla="*/ 0 w 13757"/>
              <a:gd name="connsiteY0" fmla="*/ 10062 h 10764"/>
              <a:gd name="connsiteX1" fmla="*/ 2000 w 13757"/>
              <a:gd name="connsiteY1" fmla="*/ 62 h 10764"/>
              <a:gd name="connsiteX2" fmla="*/ 10000 w 13757"/>
              <a:gd name="connsiteY2" fmla="*/ 62 h 10764"/>
              <a:gd name="connsiteX3" fmla="*/ 13742 w 13757"/>
              <a:gd name="connsiteY3" fmla="*/ 0 h 10764"/>
              <a:gd name="connsiteX4" fmla="*/ 13757 w 13757"/>
              <a:gd name="connsiteY4" fmla="*/ 689 h 10764"/>
              <a:gd name="connsiteX5" fmla="*/ 10516 w 13757"/>
              <a:gd name="connsiteY5" fmla="*/ 671 h 10764"/>
              <a:gd name="connsiteX6" fmla="*/ 9198 w 13757"/>
              <a:gd name="connsiteY6" fmla="*/ 9979 h 10764"/>
              <a:gd name="connsiteX7" fmla="*/ 0 w 13757"/>
              <a:gd name="connsiteY7" fmla="*/ 10062 h 10764"/>
              <a:gd name="connsiteX0" fmla="*/ 0 w 13757"/>
              <a:gd name="connsiteY0" fmla="*/ 10062 h 10520"/>
              <a:gd name="connsiteX1" fmla="*/ 2000 w 13757"/>
              <a:gd name="connsiteY1" fmla="*/ 62 h 10520"/>
              <a:gd name="connsiteX2" fmla="*/ 10000 w 13757"/>
              <a:gd name="connsiteY2" fmla="*/ 62 h 10520"/>
              <a:gd name="connsiteX3" fmla="*/ 13742 w 13757"/>
              <a:gd name="connsiteY3" fmla="*/ 0 h 10520"/>
              <a:gd name="connsiteX4" fmla="*/ 13757 w 13757"/>
              <a:gd name="connsiteY4" fmla="*/ 689 h 10520"/>
              <a:gd name="connsiteX5" fmla="*/ 10516 w 13757"/>
              <a:gd name="connsiteY5" fmla="*/ 671 h 10520"/>
              <a:gd name="connsiteX6" fmla="*/ 9198 w 13757"/>
              <a:gd name="connsiteY6" fmla="*/ 9979 h 10520"/>
              <a:gd name="connsiteX7" fmla="*/ 0 w 13757"/>
              <a:gd name="connsiteY7" fmla="*/ 10062 h 10520"/>
              <a:gd name="connsiteX0" fmla="*/ 0 w 13757"/>
              <a:gd name="connsiteY0" fmla="*/ 10062 h 10459"/>
              <a:gd name="connsiteX1" fmla="*/ 2000 w 13757"/>
              <a:gd name="connsiteY1" fmla="*/ 62 h 10459"/>
              <a:gd name="connsiteX2" fmla="*/ 10000 w 13757"/>
              <a:gd name="connsiteY2" fmla="*/ 62 h 10459"/>
              <a:gd name="connsiteX3" fmla="*/ 13742 w 13757"/>
              <a:gd name="connsiteY3" fmla="*/ 0 h 10459"/>
              <a:gd name="connsiteX4" fmla="*/ 13757 w 13757"/>
              <a:gd name="connsiteY4" fmla="*/ 689 h 10459"/>
              <a:gd name="connsiteX5" fmla="*/ 10516 w 13757"/>
              <a:gd name="connsiteY5" fmla="*/ 671 h 10459"/>
              <a:gd name="connsiteX6" fmla="*/ 9198 w 13757"/>
              <a:gd name="connsiteY6" fmla="*/ 9979 h 10459"/>
              <a:gd name="connsiteX7" fmla="*/ 0 w 13757"/>
              <a:gd name="connsiteY7" fmla="*/ 10062 h 10459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70"/>
              <a:gd name="connsiteX1" fmla="*/ 2000 w 13757"/>
              <a:gd name="connsiteY1" fmla="*/ 62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3757"/>
              <a:gd name="connsiteY0" fmla="*/ 10062 h 10070"/>
              <a:gd name="connsiteX1" fmla="*/ 122 w 13757"/>
              <a:gd name="connsiteY1" fmla="*/ 10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5248"/>
              <a:gd name="connsiteY0" fmla="*/ 10010 h 10685"/>
              <a:gd name="connsiteX1" fmla="*/ 1613 w 15248"/>
              <a:gd name="connsiteY1" fmla="*/ 10 h 10685"/>
              <a:gd name="connsiteX2" fmla="*/ 11491 w 15248"/>
              <a:gd name="connsiteY2" fmla="*/ 62 h 10685"/>
              <a:gd name="connsiteX3" fmla="*/ 15233 w 15248"/>
              <a:gd name="connsiteY3" fmla="*/ 0 h 10685"/>
              <a:gd name="connsiteX4" fmla="*/ 15248 w 15248"/>
              <a:gd name="connsiteY4" fmla="*/ 689 h 10685"/>
              <a:gd name="connsiteX5" fmla="*/ 12007 w 15248"/>
              <a:gd name="connsiteY5" fmla="*/ 671 h 10685"/>
              <a:gd name="connsiteX6" fmla="*/ 10689 w 15248"/>
              <a:gd name="connsiteY6" fmla="*/ 9979 h 10685"/>
              <a:gd name="connsiteX7" fmla="*/ 0 w 15248"/>
              <a:gd name="connsiteY7" fmla="*/ 10010 h 10685"/>
              <a:gd name="connsiteX0" fmla="*/ 813 w 16061"/>
              <a:gd name="connsiteY0" fmla="*/ 10010 h 10685"/>
              <a:gd name="connsiteX1" fmla="*/ 928 w 16061"/>
              <a:gd name="connsiteY1" fmla="*/ 8437 h 10685"/>
              <a:gd name="connsiteX2" fmla="*/ 2426 w 16061"/>
              <a:gd name="connsiteY2" fmla="*/ 10 h 10685"/>
              <a:gd name="connsiteX3" fmla="*/ 12304 w 16061"/>
              <a:gd name="connsiteY3" fmla="*/ 62 h 10685"/>
              <a:gd name="connsiteX4" fmla="*/ 16046 w 16061"/>
              <a:gd name="connsiteY4" fmla="*/ 0 h 10685"/>
              <a:gd name="connsiteX5" fmla="*/ 16061 w 16061"/>
              <a:gd name="connsiteY5" fmla="*/ 689 h 10685"/>
              <a:gd name="connsiteX6" fmla="*/ 12820 w 16061"/>
              <a:gd name="connsiteY6" fmla="*/ 671 h 10685"/>
              <a:gd name="connsiteX7" fmla="*/ 11502 w 16061"/>
              <a:gd name="connsiteY7" fmla="*/ 9979 h 10685"/>
              <a:gd name="connsiteX8" fmla="*/ 813 w 16061"/>
              <a:gd name="connsiteY8" fmla="*/ 10010 h 10685"/>
              <a:gd name="connsiteX0" fmla="*/ 752 w 16000"/>
              <a:gd name="connsiteY0" fmla="*/ 10010 h 10685"/>
              <a:gd name="connsiteX1" fmla="*/ 867 w 16000"/>
              <a:gd name="connsiteY1" fmla="*/ 8437 h 10685"/>
              <a:gd name="connsiteX2" fmla="*/ 2365 w 16000"/>
              <a:gd name="connsiteY2" fmla="*/ 10 h 10685"/>
              <a:gd name="connsiteX3" fmla="*/ 12243 w 16000"/>
              <a:gd name="connsiteY3" fmla="*/ 62 h 10685"/>
              <a:gd name="connsiteX4" fmla="*/ 15985 w 16000"/>
              <a:gd name="connsiteY4" fmla="*/ 0 h 10685"/>
              <a:gd name="connsiteX5" fmla="*/ 16000 w 16000"/>
              <a:gd name="connsiteY5" fmla="*/ 689 h 10685"/>
              <a:gd name="connsiteX6" fmla="*/ 12759 w 16000"/>
              <a:gd name="connsiteY6" fmla="*/ 671 h 10685"/>
              <a:gd name="connsiteX7" fmla="*/ 11441 w 16000"/>
              <a:gd name="connsiteY7" fmla="*/ 9979 h 10685"/>
              <a:gd name="connsiteX8" fmla="*/ 752 w 16000"/>
              <a:gd name="connsiteY8" fmla="*/ 10010 h 10685"/>
              <a:gd name="connsiteX0" fmla="*/ 1 w 15249"/>
              <a:gd name="connsiteY0" fmla="*/ 10010 h 10685"/>
              <a:gd name="connsiteX1" fmla="*/ 116 w 15249"/>
              <a:gd name="connsiteY1" fmla="*/ 8437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010"/>
              <a:gd name="connsiteX1" fmla="*/ 0 w 15263"/>
              <a:gd name="connsiteY1" fmla="*/ 9315 h 10010"/>
              <a:gd name="connsiteX2" fmla="*/ 1628 w 15263"/>
              <a:gd name="connsiteY2" fmla="*/ 10 h 10010"/>
              <a:gd name="connsiteX3" fmla="*/ 11506 w 15263"/>
              <a:gd name="connsiteY3" fmla="*/ 62 h 10010"/>
              <a:gd name="connsiteX4" fmla="*/ 15248 w 15263"/>
              <a:gd name="connsiteY4" fmla="*/ 0 h 10010"/>
              <a:gd name="connsiteX5" fmla="*/ 15263 w 15263"/>
              <a:gd name="connsiteY5" fmla="*/ 689 h 10010"/>
              <a:gd name="connsiteX6" fmla="*/ 12022 w 15263"/>
              <a:gd name="connsiteY6" fmla="*/ 671 h 10010"/>
              <a:gd name="connsiteX7" fmla="*/ 10704 w 15263"/>
              <a:gd name="connsiteY7" fmla="*/ 9979 h 10010"/>
              <a:gd name="connsiteX8" fmla="*/ 15 w 15263"/>
              <a:gd name="connsiteY8" fmla="*/ 10010 h 10010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63" h="10012">
                <a:moveTo>
                  <a:pt x="15" y="10010"/>
                </a:moveTo>
                <a:cubicBezTo>
                  <a:pt x="13" y="9236"/>
                  <a:pt x="-5" y="9734"/>
                  <a:pt x="0" y="9315"/>
                </a:cubicBezTo>
                <a:cubicBezTo>
                  <a:pt x="1116" y="9004"/>
                  <a:pt x="875" y="-15"/>
                  <a:pt x="1628" y="10"/>
                </a:cubicBezTo>
                <a:lnTo>
                  <a:pt x="11506" y="62"/>
                </a:lnTo>
                <a:cubicBezTo>
                  <a:pt x="13436" y="-77"/>
                  <a:pt x="13454" y="82"/>
                  <a:pt x="15248" y="0"/>
                </a:cubicBezTo>
                <a:cubicBezTo>
                  <a:pt x="15259" y="484"/>
                  <a:pt x="15253" y="45"/>
                  <a:pt x="15263" y="689"/>
                </a:cubicBezTo>
                <a:cubicBezTo>
                  <a:pt x="13905" y="604"/>
                  <a:pt x="13382" y="694"/>
                  <a:pt x="12022" y="671"/>
                </a:cubicBezTo>
                <a:cubicBezTo>
                  <a:pt x="11306" y="2025"/>
                  <a:pt x="11386" y="8045"/>
                  <a:pt x="10704" y="9979"/>
                </a:cubicBezTo>
                <a:cubicBezTo>
                  <a:pt x="8703" y="9779"/>
                  <a:pt x="3120" y="10038"/>
                  <a:pt x="15" y="10010"/>
                </a:cubicBezTo>
                <a:close/>
              </a:path>
            </a:pathLst>
          </a:cu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62" eaLnBrk="1" hangingPunct="1">
              <a:defRPr/>
            </a:pP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1050" b="1" dirty="0" smtClean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Об обеспечении  безопасности дорожного  движения на железнодорожных переездах и </a:t>
            </a:r>
          </a:p>
          <a:p>
            <a:pPr defTabSz="685562" eaLnBrk="1" hangingPunct="1">
              <a:defRPr/>
            </a:pPr>
            <a:r>
              <a:rPr lang="ru-RU" sz="1050" b="1" dirty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smtClean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                 железнодорожных путях  на Красноярской железной дороги за </a:t>
            </a:r>
            <a:r>
              <a:rPr lang="ru-RU" sz="1050" b="1" smtClean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2024 год</a:t>
            </a:r>
            <a:endParaRPr lang="ru-RU" sz="1050" b="1" dirty="0" smtClean="0">
              <a:solidFill>
                <a:prstClr val="white"/>
              </a:solidFill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14288" y="-19050"/>
            <a:ext cx="3552826" cy="16779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76" name="Прямоугольник 19"/>
          <p:cNvSpPr>
            <a:spLocks noChangeArrowheads="1"/>
          </p:cNvSpPr>
          <p:nvPr/>
        </p:nvSpPr>
        <p:spPr bwMode="auto">
          <a:xfrm>
            <a:off x="98425" y="4051300"/>
            <a:ext cx="7848600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06425" eaLnBrk="1" hangingPunct="1"/>
            <a:endParaRPr lang="ru-RU" altLang="ru-RU" sz="1400" b="1" dirty="0" smtClean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400" b="1" dirty="0" smtClean="0">
                <a:latin typeface="Verdana" pitchFamily="34" charset="0"/>
                <a:ea typeface="Verdana" pitchFamily="34" charset="0"/>
                <a:cs typeface="Arial" pitchFamily="34" charset="0"/>
              </a:rPr>
              <a:t>                                     </a:t>
            </a:r>
            <a:endParaRPr lang="ru-RU" altLang="ru-RU" sz="1400" b="1" dirty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000" dirty="0" smtClean="0">
                <a:latin typeface="Verdana" pitchFamily="34" charset="0"/>
                <a:ea typeface="Verdana" pitchFamily="34" charset="0"/>
                <a:cs typeface="Arial" pitchFamily="34" charset="0"/>
              </a:rPr>
              <a:t>За 2025 год</a:t>
            </a:r>
            <a:endParaRPr lang="ru-RU" altLang="ru-RU" sz="1000" dirty="0">
              <a:latin typeface="Verdana" pitchFamily="34" charset="0"/>
              <a:ea typeface="Verdana" pitchFamily="34" charset="0"/>
              <a:cs typeface="Arial" pitchFamily="34" charset="0"/>
            </a:endParaRPr>
          </a:p>
        </p:txBody>
      </p:sp>
      <p:grpSp>
        <p:nvGrpSpPr>
          <p:cNvPr id="2" name="Group 22"/>
          <p:cNvGrpSpPr>
            <a:grpSpLocks/>
          </p:cNvGrpSpPr>
          <p:nvPr/>
        </p:nvGrpSpPr>
        <p:grpSpPr bwMode="auto">
          <a:xfrm>
            <a:off x="1566863" y="-22225"/>
            <a:ext cx="5251450" cy="3462338"/>
            <a:chOff x="1867" y="-51"/>
            <a:chExt cx="3930" cy="3262"/>
          </a:xfrm>
        </p:grpSpPr>
        <p:pic>
          <p:nvPicPr>
            <p:cNvPr id="156687" name="Picture 33" descr="Титульный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67" y="-51"/>
              <a:ext cx="3930" cy="3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88" name="AutoShape 34" descr="вокзал copy"/>
            <p:cNvSpPr>
              <a:spLocks noChangeArrowheads="1"/>
            </p:cNvSpPr>
            <p:nvPr/>
          </p:nvSpPr>
          <p:spPr bwMode="auto">
            <a:xfrm>
              <a:off x="2473" y="1663"/>
              <a:ext cx="1012" cy="802"/>
            </a:xfrm>
            <a:prstGeom prst="parallelogram">
              <a:avLst>
                <a:gd name="adj" fmla="val 84707"/>
              </a:avLst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" name="Freeform 12" descr="бпла1"/>
            <p:cNvSpPr>
              <a:spLocks/>
            </p:cNvSpPr>
            <p:nvPr/>
          </p:nvSpPr>
          <p:spPr bwMode="auto">
            <a:xfrm>
              <a:off x="2476" y="12"/>
              <a:ext cx="1011" cy="778"/>
            </a:xfrm>
            <a:custGeom>
              <a:avLst/>
              <a:gdLst>
                <a:gd name="T0" fmla="*/ 0 w 996"/>
                <a:gd name="T1" fmla="*/ 937 h 773"/>
                <a:gd name="T2" fmla="*/ 698 w 996"/>
                <a:gd name="T3" fmla="*/ 935 h 773"/>
                <a:gd name="T4" fmla="*/ 1515 w 996"/>
                <a:gd name="T5" fmla="*/ 3 h 773"/>
                <a:gd name="T6" fmla="*/ 1259 w 996"/>
                <a:gd name="T7" fmla="*/ 0 h 773"/>
                <a:gd name="T8" fmla="*/ 1192 w 996"/>
                <a:gd name="T9" fmla="*/ 0 h 773"/>
                <a:gd name="T10" fmla="*/ 1111 w 996"/>
                <a:gd name="T11" fmla="*/ 10 h 773"/>
                <a:gd name="T12" fmla="*/ 1040 w 996"/>
                <a:gd name="T13" fmla="*/ 22 h 773"/>
                <a:gd name="T14" fmla="*/ 975 w 996"/>
                <a:gd name="T15" fmla="*/ 36 h 773"/>
                <a:gd name="T16" fmla="*/ 910 w 996"/>
                <a:gd name="T17" fmla="*/ 51 h 773"/>
                <a:gd name="T18" fmla="*/ 853 w 996"/>
                <a:gd name="T19" fmla="*/ 70 h 773"/>
                <a:gd name="T20" fmla="*/ 809 w 996"/>
                <a:gd name="T21" fmla="*/ 114 h 773"/>
                <a:gd name="T22" fmla="*/ 764 w 996"/>
                <a:gd name="T23" fmla="*/ 134 h 773"/>
                <a:gd name="T24" fmla="*/ 712 w 996"/>
                <a:gd name="T25" fmla="*/ 170 h 773"/>
                <a:gd name="T26" fmla="*/ 637 w 996"/>
                <a:gd name="T27" fmla="*/ 215 h 773"/>
                <a:gd name="T28" fmla="*/ 586 w 996"/>
                <a:gd name="T29" fmla="*/ 270 h 773"/>
                <a:gd name="T30" fmla="*/ 0 w 996"/>
                <a:gd name="T31" fmla="*/ 937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solidFill>
                <a:schemeClr val="accent6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156690" name="Freeform 14" descr="Безымянный444"/>
            <p:cNvSpPr>
              <a:spLocks/>
            </p:cNvSpPr>
            <p:nvPr/>
          </p:nvSpPr>
          <p:spPr bwMode="auto">
            <a:xfrm>
              <a:off x="1912" y="1662"/>
              <a:ext cx="1053" cy="805"/>
            </a:xfrm>
            <a:custGeom>
              <a:avLst/>
              <a:gdLst>
                <a:gd name="T0" fmla="*/ 0 w 996"/>
                <a:gd name="T1" fmla="*/ 2948 h 773"/>
                <a:gd name="T2" fmla="*/ 2872 w 996"/>
                <a:gd name="T3" fmla="*/ 2943 h 773"/>
                <a:gd name="T4" fmla="*/ 6245 w 996"/>
                <a:gd name="T5" fmla="*/ 3 h 773"/>
                <a:gd name="T6" fmla="*/ 5190 w 996"/>
                <a:gd name="T7" fmla="*/ 0 h 773"/>
                <a:gd name="T8" fmla="*/ 4929 w 996"/>
                <a:gd name="T9" fmla="*/ 0 h 773"/>
                <a:gd name="T10" fmla="*/ 4586 w 996"/>
                <a:gd name="T11" fmla="*/ 10 h 773"/>
                <a:gd name="T12" fmla="*/ 4292 w 996"/>
                <a:gd name="T13" fmla="*/ 79 h 773"/>
                <a:gd name="T14" fmla="*/ 4017 w 996"/>
                <a:gd name="T15" fmla="*/ 140 h 773"/>
                <a:gd name="T16" fmla="*/ 3743 w 996"/>
                <a:gd name="T17" fmla="*/ 194 h 773"/>
                <a:gd name="T18" fmla="*/ 3516 w 996"/>
                <a:gd name="T19" fmla="*/ 268 h 773"/>
                <a:gd name="T20" fmla="*/ 3343 w 996"/>
                <a:gd name="T21" fmla="*/ 319 h 773"/>
                <a:gd name="T22" fmla="*/ 3162 w 996"/>
                <a:gd name="T23" fmla="*/ 394 h 773"/>
                <a:gd name="T24" fmla="*/ 2931 w 996"/>
                <a:gd name="T25" fmla="*/ 535 h 773"/>
                <a:gd name="T26" fmla="*/ 2629 w 996"/>
                <a:gd name="T27" fmla="*/ 709 h 773"/>
                <a:gd name="T28" fmla="*/ 2425 w 996"/>
                <a:gd name="T29" fmla="*/ 845 h 773"/>
                <a:gd name="T30" fmla="*/ 0 w 996"/>
                <a:gd name="T31" fmla="*/ 2948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6" cstate="print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91" name="AutoShape 34" descr="вокзал copy"/>
            <p:cNvSpPr>
              <a:spLocks noChangeArrowheads="1"/>
            </p:cNvSpPr>
            <p:nvPr/>
          </p:nvSpPr>
          <p:spPr bwMode="auto">
            <a:xfrm>
              <a:off x="1942" y="2529"/>
              <a:ext cx="961" cy="682"/>
            </a:xfrm>
            <a:prstGeom prst="parallelogram">
              <a:avLst>
                <a:gd name="adj" fmla="val 89738"/>
              </a:avLst>
            </a:prstGeom>
            <a:blipFill dpi="0" rotWithShape="1">
              <a:blip r:embed="rId7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6692" name="AutoShape 34" descr="вокзал copy"/>
            <p:cNvSpPr>
              <a:spLocks noChangeArrowheads="1"/>
            </p:cNvSpPr>
            <p:nvPr/>
          </p:nvSpPr>
          <p:spPr bwMode="auto">
            <a:xfrm>
              <a:off x="2984" y="1672"/>
              <a:ext cx="1088" cy="794"/>
            </a:xfrm>
            <a:prstGeom prst="parallelogram">
              <a:avLst>
                <a:gd name="adj" fmla="val 94219"/>
              </a:avLst>
            </a:prstGeom>
            <a:blipFill dpi="0" rotWithShape="1">
              <a:blip r:embed="rId8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9217" name="Параллелограмм 9216"/>
          <p:cNvSpPr/>
          <p:nvPr/>
        </p:nvSpPr>
        <p:spPr>
          <a:xfrm flipV="1">
            <a:off x="2400300" y="908050"/>
            <a:ext cx="1376363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7" name="Параллелограмм 36"/>
          <p:cNvSpPr/>
          <p:nvPr/>
        </p:nvSpPr>
        <p:spPr>
          <a:xfrm flipV="1">
            <a:off x="3117850" y="900113"/>
            <a:ext cx="1374775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 flipH="1">
            <a:off x="3088937" y="-14849"/>
            <a:ext cx="6040638" cy="3451720"/>
          </a:xfrm>
          <a:custGeom>
            <a:avLst/>
            <a:gdLst>
              <a:gd name="connsiteX0" fmla="*/ 2946150 w 6040638"/>
              <a:gd name="connsiteY0" fmla="*/ 12042 h 3451720"/>
              <a:gd name="connsiteX1" fmla="*/ 0 w 6040638"/>
              <a:gd name="connsiteY1" fmla="*/ 12042 h 3451720"/>
              <a:gd name="connsiteX2" fmla="*/ 0 w 6040638"/>
              <a:gd name="connsiteY2" fmla="*/ 3451720 h 3451720"/>
              <a:gd name="connsiteX3" fmla="*/ 2946150 w 6040638"/>
              <a:gd name="connsiteY3" fmla="*/ 3451720 h 3451720"/>
              <a:gd name="connsiteX4" fmla="*/ 2950955 w 6040638"/>
              <a:gd name="connsiteY4" fmla="*/ 0 h 3451720"/>
              <a:gd name="connsiteX5" fmla="*/ 2950955 w 6040638"/>
              <a:gd name="connsiteY5" fmla="*/ 3439678 h 3451720"/>
              <a:gd name="connsiteX6" fmla="*/ 6040638 w 6040638"/>
              <a:gd name="connsiteY6" fmla="*/ 3439678 h 345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0638" h="3451720">
                <a:moveTo>
                  <a:pt x="2946150" y="12042"/>
                </a:moveTo>
                <a:lnTo>
                  <a:pt x="0" y="12042"/>
                </a:lnTo>
                <a:lnTo>
                  <a:pt x="0" y="3451720"/>
                </a:lnTo>
                <a:lnTo>
                  <a:pt x="2946150" y="3451720"/>
                </a:lnTo>
                <a:close/>
                <a:moveTo>
                  <a:pt x="2950955" y="0"/>
                </a:moveTo>
                <a:lnTo>
                  <a:pt x="2950955" y="3439678"/>
                </a:lnTo>
                <a:lnTo>
                  <a:pt x="6040638" y="3439678"/>
                </a:lnTo>
                <a:close/>
              </a:path>
            </a:pathLst>
          </a:custGeom>
          <a:blipFill dpi="0" rotWithShape="1">
            <a:blip r:embed="rId9" cstate="print">
              <a:alphaModFix amt="9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>
                <a:alpha val="80000"/>
              </a:schemeClr>
            </a:glow>
            <a:outerShdw blurRad="40000" dist="23000" dir="5400000" sx="1000" sy="1000" rotWithShape="0">
              <a:srgbClr val="000000"/>
            </a:outerShdw>
            <a:reflection endPos="0" dist="50800" dir="5400000" sy="-100000" algn="bl" rotWithShape="0"/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156681" name="AutoShape 34" descr="вокзал copy"/>
          <p:cNvSpPr>
            <a:spLocks noChangeArrowheads="1"/>
          </p:cNvSpPr>
          <p:nvPr/>
        </p:nvSpPr>
        <p:spPr bwMode="auto">
          <a:xfrm>
            <a:off x="2393950" y="2709863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0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6682" name="Freeform 12" descr="бпла1"/>
          <p:cNvSpPr>
            <a:spLocks/>
          </p:cNvSpPr>
          <p:nvPr/>
        </p:nvSpPr>
        <p:spPr bwMode="auto">
          <a:xfrm>
            <a:off x="3924300" y="6350"/>
            <a:ext cx="1458913" cy="882650"/>
          </a:xfrm>
          <a:custGeom>
            <a:avLst/>
            <a:gdLst>
              <a:gd name="T0" fmla="*/ 0 w 996"/>
              <a:gd name="T1" fmla="*/ 2147483646 h 773"/>
              <a:gd name="T2" fmla="*/ 2147483646 w 996"/>
              <a:gd name="T3" fmla="*/ 2147483646 h 773"/>
              <a:gd name="T4" fmla="*/ 2147483646 w 996"/>
              <a:gd name="T5" fmla="*/ 2147483646 h 773"/>
              <a:gd name="T6" fmla="*/ 2147483646 w 996"/>
              <a:gd name="T7" fmla="*/ 0 h 773"/>
              <a:gd name="T8" fmla="*/ 2147483646 w 996"/>
              <a:gd name="T9" fmla="*/ 0 h 773"/>
              <a:gd name="T10" fmla="*/ 2147483646 w 996"/>
              <a:gd name="T11" fmla="*/ 2147483646 h 773"/>
              <a:gd name="T12" fmla="*/ 2147483646 w 996"/>
              <a:gd name="T13" fmla="*/ 2147483646 h 773"/>
              <a:gd name="T14" fmla="*/ 2147483646 w 996"/>
              <a:gd name="T15" fmla="*/ 2147483646 h 773"/>
              <a:gd name="T16" fmla="*/ 2147483646 w 996"/>
              <a:gd name="T17" fmla="*/ 2147483646 h 773"/>
              <a:gd name="T18" fmla="*/ 2147483646 w 996"/>
              <a:gd name="T19" fmla="*/ 2147483646 h 773"/>
              <a:gd name="T20" fmla="*/ 2147483646 w 996"/>
              <a:gd name="T21" fmla="*/ 2147483646 h 773"/>
              <a:gd name="T22" fmla="*/ 2147483646 w 996"/>
              <a:gd name="T23" fmla="*/ 2147483646 h 773"/>
              <a:gd name="T24" fmla="*/ 2147483646 w 996"/>
              <a:gd name="T25" fmla="*/ 2147483646 h 773"/>
              <a:gd name="T26" fmla="*/ 2147483646 w 996"/>
              <a:gd name="T27" fmla="*/ 2147483646 h 773"/>
              <a:gd name="T28" fmla="*/ 2147483646 w 996"/>
              <a:gd name="T29" fmla="*/ 2147483646 h 773"/>
              <a:gd name="T30" fmla="*/ 0 w 996"/>
              <a:gd name="T31" fmla="*/ 2147483646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8" name="Freeform 12" descr="бпла1"/>
          <p:cNvSpPr>
            <a:spLocks/>
          </p:cNvSpPr>
          <p:nvPr/>
        </p:nvSpPr>
        <p:spPr bwMode="auto">
          <a:xfrm>
            <a:off x="3143250" y="28575"/>
            <a:ext cx="1349375" cy="825500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18" name="Freeform 12" descr="бпла1"/>
          <p:cNvSpPr>
            <a:spLocks/>
          </p:cNvSpPr>
          <p:nvPr/>
        </p:nvSpPr>
        <p:spPr bwMode="auto">
          <a:xfrm>
            <a:off x="1609725" y="50800"/>
            <a:ext cx="1350963" cy="827088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20" name="Параллелограмм 19"/>
          <p:cNvSpPr/>
          <p:nvPr/>
        </p:nvSpPr>
        <p:spPr>
          <a:xfrm flipV="1">
            <a:off x="1625600" y="914400"/>
            <a:ext cx="1376363" cy="838200"/>
          </a:xfrm>
          <a:prstGeom prst="parallelogram">
            <a:avLst>
              <a:gd name="adj" fmla="val 89393"/>
            </a:avLst>
          </a:prstGeom>
          <a:solidFill>
            <a:srgbClr val="DDDDDD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86" name="AutoShape 34" descr="вокзал copy"/>
          <p:cNvSpPr>
            <a:spLocks noChangeArrowheads="1"/>
          </p:cNvSpPr>
          <p:nvPr/>
        </p:nvSpPr>
        <p:spPr bwMode="auto">
          <a:xfrm>
            <a:off x="911225" y="2700338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3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6524" y="133973"/>
            <a:ext cx="8316416" cy="307754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ческие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о столкновениях и пострадавших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4123BE78-CEB2-4F90-A5E5-E5C87F12C9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pPr/>
              <a:t>1</a:t>
            </a:fld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Verdana" pitchFamily="34" charset="0"/>
              <a:ea typeface="Verdana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42137103"/>
              </p:ext>
            </p:extLst>
          </p:nvPr>
        </p:nvGraphicFramePr>
        <p:xfrm>
          <a:off x="215516" y="920159"/>
          <a:ext cx="3182084" cy="2011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3275856" y="663538"/>
            <a:ext cx="2700300" cy="360040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2025 г.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915994843"/>
              </p:ext>
            </p:extLst>
          </p:nvPr>
        </p:nvGraphicFramePr>
        <p:xfrm>
          <a:off x="3108568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233518" y="2895786"/>
            <a:ext cx="8658962" cy="1692188"/>
          </a:xfrm>
          <a:prstGeom prst="roundRect">
            <a:avLst/>
          </a:prstGeom>
          <a:solidFill>
            <a:schemeClr val="tx2"/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истекший период 2025 г.  в границах Красноярской железной дороги,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ущено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а дорожно-транспортных происшествий на железнодорожных переездах без столкновения с подвижным составом: 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3847 км перегон Боготол – Вагино, в границах Боготольского района, обслуживаемым дежурным работником, допущен наезд на световую и звуковую </a:t>
            </a:r>
            <a:r>
              <a:rPr lang="ru-RU" sz="1000" b="1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гнализацию водителем 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гкового автомобиля «</a:t>
            </a:r>
            <a:r>
              <a:rPr lang="en-US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@</a:t>
            </a:r>
            <a:r>
              <a:rPr lang="ru-RU" sz="1000" b="1" dirty="0" smtClean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1952193586"/>
              </p:ext>
            </p:extLst>
          </p:nvPr>
        </p:nvGraphicFramePr>
        <p:xfrm>
          <a:off x="20" y="1095586"/>
          <a:ext cx="331596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107504" y="663538"/>
            <a:ext cx="2916324" cy="36004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2024 г. на сети железных дорог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75">
            <a:extLst>
              <a:ext uri="{FF2B5EF4-FFF2-40B4-BE49-F238E27FC236}">
                <a16:creationId xmlns="" xmlns:a16="http://schemas.microsoft.com/office/drawing/2014/main" id="{D649C976-CAE0-486C-9739-399E5F02F6FB}"/>
              </a:ext>
            </a:extLst>
          </p:cNvPr>
          <p:cNvSpPr/>
          <p:nvPr/>
        </p:nvSpPr>
        <p:spPr>
          <a:xfrm>
            <a:off x="6300192" y="663538"/>
            <a:ext cx="2592288" cy="173377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лиз данных текущего года и аналогичного периода прошлого года показал, что: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ДТП 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о на </a:t>
            </a:r>
            <a:r>
              <a:rPr lang="ru-RU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1050" b="1" dirty="0" smtClean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%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страдавших </a:t>
            </a:r>
            <a:r>
              <a: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 с 0 до 8 человек;</a:t>
            </a:r>
          </a:p>
          <a:p>
            <a:pPr algn="just"/>
            <a:r>
              <a:rPr lang="ru-RU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количество погибших </a:t>
            </a:r>
            <a:r>
              <a: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лось с 0 до 3 человек.</a:t>
            </a:r>
            <a:endParaRPr lang="ru-RU" sz="105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043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а нарушения </a:t>
            </a:r>
            <a:r>
              <a:rPr lang="ru-RU" sz="14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ов</a:t>
            </a:r>
            <a:endParaRPr lang="ru-RU" sz="14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pPr/>
              <a:t>2</a:t>
            </a:fld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Verdana" pitchFamily="34" charset="0"/>
              <a:ea typeface="Verdana" pitchFamily="34" charset="0"/>
            </a:endParaRPr>
          </a:p>
        </p:txBody>
      </p:sp>
      <p:sp>
        <p:nvSpPr>
          <p:cNvPr id="15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287524" y="663536"/>
            <a:ext cx="3960440" cy="1224138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000" b="1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 январ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3847 км пк 6 перегон Боготол-Вагино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Боготоль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итель автомобиля «</a:t>
            </a:r>
            <a:r>
              <a:rPr lang="en-US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D ESCAPE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допустил наезд на световую и звуковую сигнализацию. Повреждено: </a:t>
            </a:r>
            <a:r>
              <a:rPr lang="ru-RU" sz="1000" b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ое ограждение</a:t>
            </a:r>
            <a:r>
              <a:rPr lang="ru-RU" sz="1000" b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ная сигнализация, УЗП, шлагбаумы, дорожные и сигнальные знаки, информационные таблички  и светофор</a:t>
            </a:r>
          </a:p>
          <a:p>
            <a:pPr algn="just"/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4932040" y="663536"/>
            <a:ext cx="3852428" cy="1224137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евраля 2025 </a:t>
            </a:r>
            <a:r>
              <a:rPr lang="ru-RU" sz="10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 ж.д.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езде 836 км пк 5 перегона Ирбейская-Коростелёво </a:t>
            </a:r>
            <a:r>
              <a:rPr lang="ru-RU" sz="10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Ирбейский район) 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следовании  через переезд лесовоза «УРАЛ» допущен разрыв стропы увязки груза, в следствие чего в границах переезда 3 бревна, без повреждений устройств ОАО «РЖД» и без сбоя графика движения поездов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6696236" y="213766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2128490" y="2049692"/>
            <a:ext cx="324036" cy="216024"/>
          </a:xfrm>
          <a:prstGeom prst="rightArrow">
            <a:avLst/>
          </a:prstGeom>
          <a:solidFill>
            <a:schemeClr val="tx2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66A1">
                  <a:lumMod val="75000"/>
                </a:srgbClr>
              </a:solidFill>
              <a:effectLst/>
              <a:uLnTx/>
              <a:uFillTx/>
              <a:latin typeface="Trebuchet MS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Рисунок 13" descr="C:\Users\korchaginav\Desktop\№1 переезды 2025 год\ДТП\ДТП ПЧ-1\2025-01-27T09_29_02.839.jpe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2407692"/>
            <a:ext cx="3960440" cy="228622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korchaginav\Desktop\ДТП ПЧ-12\a40aa856-0f3d-44ce-b601-0c3a971694af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571750"/>
            <a:ext cx="3852428" cy="21221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871</TotalTime>
  <Words>285</Words>
  <Application>Microsoft Office PowerPoint</Application>
  <PresentationFormat>Экран (16:9)</PresentationFormat>
  <Paragraphs>24</Paragraphs>
  <Slides>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8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239</cp:revision>
  <cp:lastPrinted>2024-08-30T00:23:45Z</cp:lastPrinted>
  <dcterms:created xsi:type="dcterms:W3CDTF">2011-05-23T14:04:51Z</dcterms:created>
  <dcterms:modified xsi:type="dcterms:W3CDTF">2025-02-04T09:02:27Z</dcterms:modified>
</cp:coreProperties>
</file>